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3" r:id="rId2"/>
    <p:sldMasterId id="2147483747" r:id="rId3"/>
    <p:sldMasterId id="2147483771" r:id="rId4"/>
    <p:sldMasterId id="2147483783" r:id="rId5"/>
    <p:sldMasterId id="2147483852" r:id="rId6"/>
    <p:sldMasterId id="2147483877" r:id="rId7"/>
  </p:sldMasterIdLst>
  <p:notesMasterIdLst>
    <p:notesMasterId r:id="rId20"/>
  </p:notesMasterIdLst>
  <p:sldIdLst>
    <p:sldId id="391" r:id="rId8"/>
    <p:sldId id="409" r:id="rId9"/>
    <p:sldId id="423" r:id="rId10"/>
    <p:sldId id="416" r:id="rId11"/>
    <p:sldId id="417" r:id="rId12"/>
    <p:sldId id="418" r:id="rId13"/>
    <p:sldId id="421" r:id="rId14"/>
    <p:sldId id="419" r:id="rId15"/>
    <p:sldId id="420" r:id="rId16"/>
    <p:sldId id="422" r:id="rId17"/>
    <p:sldId id="424" r:id="rId18"/>
    <p:sldId id="40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CEDED"/>
    <a:srgbClr val="00AA5A"/>
    <a:srgbClr val="007BD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9606" autoAdjust="0"/>
  </p:normalViewPr>
  <p:slideViewPr>
    <p:cSldViewPr snapToGrid="0">
      <p:cViewPr varScale="1">
        <p:scale>
          <a:sx n="98" d="100"/>
          <a:sy n="98" d="100"/>
        </p:scale>
        <p:origin x="378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90" d="100"/>
          <a:sy n="90" d="100"/>
        </p:scale>
        <p:origin x="2034" y="-20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79CCF-33C9-49D0-94E7-84F9DB269284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BBD8EF-6748-4297-9383-AAE2AF524250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9457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3CF100-8EEA-49B4-9BCE-73804A98BA47}" type="slidenum">
              <a:rPr lang="pt-PT" smtClean="0">
                <a:solidFill>
                  <a:prstClr val="black"/>
                </a:solidFill>
              </a:rPr>
              <a:pPr/>
              <a:t>1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475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47174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48313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4204519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9991394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2407896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hite_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29_06_2017_ALTICE_PPT_NEW_2-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6081276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4CE130-0319-6747-B8AE-26CF719C91D5}" type="datetime1">
              <a:rPr lang="en-US"/>
              <a:pPr/>
              <a:t>3/4/2020</a:t>
            </a:fld>
            <a:endParaRPr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7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30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2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34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35" name="Rectangle 34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8859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black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04" y="0"/>
            <a:ext cx="12192000" cy="6860032"/>
          </a:xfrm>
          <a:prstGeom prst="rect">
            <a:avLst/>
          </a:prstGeom>
        </p:spPr>
      </p:pic>
      <p:pic>
        <p:nvPicPr>
          <p:cNvPr id="9" name="Image 8" descr="altice_logo_rev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927" y="5157192"/>
            <a:ext cx="1296000" cy="1488000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7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69038F06-08D1-6E40-8684-B5F3AD0D6B23}" type="datetime1">
              <a:rPr lang="en-US"/>
              <a:pPr/>
              <a:t>3/4/202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672110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29_05_2017_ALTICE_PPT_NEW_11-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3" y="2249019"/>
            <a:ext cx="9697077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3" y="3525011"/>
            <a:ext cx="9697077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3F12C0-BC01-4A41-BAC5-C650BD6CCD8B}" type="datetime1">
              <a:rPr lang="en-US"/>
              <a:pPr/>
              <a:t>3/4/202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6690448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ClrTx/>
              <a:buNone/>
              <a:defRPr/>
            </a:lvl1pPr>
          </a:lstStyle>
          <a:p>
            <a:r>
              <a:rPr lang="en-US" noProof="0" dirty="0"/>
              <a:t>Summary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717798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717798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7798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699105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99105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8" hasCustomPrompt="1"/>
          </p:nvPr>
        </p:nvSpPr>
        <p:spPr>
          <a:xfrm>
            <a:off x="6699105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6240017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4"/>
              </a:buClr>
              <a:buFont typeface="+mj-lt"/>
              <a:buAutoNum type="arabicPeriod" startAt="4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2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3614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1"/>
              </a:buClr>
              <a:buFont typeface="+mj-lt"/>
              <a:buAutoNum type="arabicPeriod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22" hasCustomPrompt="1"/>
          </p:nvPr>
        </p:nvSpPr>
        <p:spPr>
          <a:xfrm>
            <a:off x="303614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2"/>
              </a:buClr>
              <a:buFont typeface="+mj-lt"/>
              <a:buAutoNum type="arabicPeriod" startAt="2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303614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3"/>
              </a:buClr>
              <a:buFont typeface="+mj-lt"/>
              <a:buAutoNum type="arabicPeriod" startAt="3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5" name="Espace réservé du texte 10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50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6"/>
              </a:buClr>
              <a:buFont typeface="+mj-lt"/>
              <a:buAutoNum type="arabicPeriod" startAt="6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6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6261150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5"/>
              </a:buClr>
              <a:buFont typeface="+mj-lt"/>
              <a:buAutoNum type="arabicPeriod" startAt="5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7" name="Rectangle 36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2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9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40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078264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466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6797637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7195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36492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A63027-B0F0-43C5-88B2-DBB63AB8EE46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18670472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47324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769250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6912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70373684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73944370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88801932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815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68476670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44549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8469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30900387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25299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28349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3829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14173809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0063278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71055254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882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47197627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37540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16292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115957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809255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561285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91618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409087910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54458217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27481355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hite_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29_06_2017_ALTICE_PPT_NEW_2-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6081276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4CE130-0319-6747-B8AE-26CF719C91D5}" type="datetime1">
              <a:rPr lang="en-US"/>
              <a:pPr/>
              <a:t>3/4/2020</a:t>
            </a:fld>
            <a:endParaRPr dirty="0"/>
          </a:p>
        </p:txBody>
      </p:sp>
      <p:grpSp>
        <p:nvGrpSpPr>
          <p:cNvPr id="2" name="Group 25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7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30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2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34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35" name="Rectangle 34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414190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black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04" y="0"/>
            <a:ext cx="12192000" cy="6860032"/>
          </a:xfrm>
          <a:prstGeom prst="rect">
            <a:avLst/>
          </a:prstGeom>
        </p:spPr>
      </p:pic>
      <p:pic>
        <p:nvPicPr>
          <p:cNvPr id="9" name="Image 8" descr="altice_logo_rev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927" y="5157192"/>
            <a:ext cx="1296000" cy="1488000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7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69038F06-08D1-6E40-8684-B5F3AD0D6B23}" type="datetime1">
              <a:rPr lang="en-US"/>
              <a:pPr/>
              <a:t>3/4/202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920827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29_05_2017_ALTICE_PPT_NEW_11-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3" y="2249019"/>
            <a:ext cx="9697077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3" y="3525011"/>
            <a:ext cx="9697077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3F12C0-BC01-4A41-BAC5-C650BD6CCD8B}" type="datetime1">
              <a:rPr lang="en-US"/>
              <a:pPr/>
              <a:t>3/4/2020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4100279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ClrTx/>
              <a:buNone/>
              <a:defRPr/>
            </a:lvl1pPr>
          </a:lstStyle>
          <a:p>
            <a:r>
              <a:rPr lang="en-US" noProof="0" dirty="0"/>
              <a:t>Summary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717798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717798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7798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699105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99105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8" hasCustomPrompt="1"/>
          </p:nvPr>
        </p:nvSpPr>
        <p:spPr>
          <a:xfrm>
            <a:off x="6699105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6240017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4"/>
              </a:buClr>
              <a:buFont typeface="+mj-lt"/>
              <a:buAutoNum type="arabicPeriod" startAt="4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2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3614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1"/>
              </a:buClr>
              <a:buFont typeface="+mj-lt"/>
              <a:buAutoNum type="arabicPeriod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22" hasCustomPrompt="1"/>
          </p:nvPr>
        </p:nvSpPr>
        <p:spPr>
          <a:xfrm>
            <a:off x="303614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2"/>
              </a:buClr>
              <a:buFont typeface="+mj-lt"/>
              <a:buAutoNum type="arabicPeriod" startAt="2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303614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3"/>
              </a:buClr>
              <a:buFont typeface="+mj-lt"/>
              <a:buAutoNum type="arabicPeriod" startAt="3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5" name="Espace réservé du texte 10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50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6"/>
              </a:buClr>
              <a:buFont typeface="+mj-lt"/>
              <a:buAutoNum type="arabicPeriod" startAt="6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6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6261150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5"/>
              </a:buClr>
              <a:buFont typeface="+mj-lt"/>
              <a:buAutoNum type="arabicPeriod" startAt="5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7" name="Rectangle 36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grpSp>
        <p:nvGrpSpPr>
          <p:cNvPr id="6" name="Group 19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2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9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40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565786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8205216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869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07338151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56646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18337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2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231283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2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515262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40590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28769696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45937781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00774280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594647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951" y="-1"/>
            <a:ext cx="12174097" cy="6858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075" y="432823"/>
            <a:ext cx="11137900" cy="2976033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755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041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itle of the presentation</a:t>
            </a:r>
          </a:p>
          <a:p>
            <a:pPr lvl="1"/>
            <a:r>
              <a:rPr lang="en-US" noProof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580876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951" y="-1"/>
            <a:ext cx="12174097" cy="6858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075" y="432011"/>
            <a:ext cx="11137900" cy="2976033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755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2041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Title of the chapter</a:t>
            </a:r>
          </a:p>
        </p:txBody>
      </p:sp>
    </p:spTree>
    <p:extLst>
      <p:ext uri="{BB962C8B-B14F-4D97-AF65-F5344CB8AC3E}">
        <p14:creationId xmlns:p14="http://schemas.microsoft.com/office/powerpoint/2010/main" val="2339132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5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00.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 smtClean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75" y="1653120"/>
            <a:ext cx="11137900" cy="3888316"/>
          </a:xfrm>
        </p:spPr>
        <p:txBody>
          <a:bodyPr/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 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41656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00.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 smtClean="0"/>
              <a:t>Title of the slid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075" y="1701802"/>
            <a:ext cx="11137900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 smtClean="0"/>
              <a:t>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5114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075" y="520703"/>
            <a:ext cx="11137900" cy="5357283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 smtClean="0"/>
              <a:t>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13986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00.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46868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algn="r">
              <a:defRPr sz="1020"/>
            </a:lvl1pPr>
          </a:lstStyle>
          <a:p>
            <a:r>
              <a:rPr lang="pt-PT" dirty="0" smtClean="0">
                <a:solidFill>
                  <a:prstClr val="black"/>
                </a:solidFill>
              </a:rPr>
              <a:t>B2C VAI MAIS LONGE EM 2018</a:t>
            </a:r>
            <a:endParaRPr lang="pt-PT" dirty="0">
              <a:solidFill>
                <a:prstClr val="black"/>
              </a:solidFill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 smtClean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52" y="1653120"/>
            <a:ext cx="7153125" cy="3888316"/>
          </a:xfrm>
        </p:spPr>
        <p:txBody>
          <a:bodyPr/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 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31" y="1701802"/>
            <a:ext cx="3696743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 smtClean="0"/>
              <a:t>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983665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ctur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smtClean="0"/>
              <a:t>00.</a:t>
            </a:r>
            <a:endParaRPr lang="en-US" noProof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/>
          <a:lstStyle/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 smtClean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4511825" y="1653120"/>
            <a:ext cx="7153125" cy="3888316"/>
          </a:xfrm>
        </p:spPr>
        <p:txBody>
          <a:bodyPr/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 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023" y="1701802"/>
            <a:ext cx="3696743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 smtClean="0"/>
              <a:t>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13281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/>
          <a:lstStyle/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52" y="452982"/>
            <a:ext cx="7153125" cy="5088465"/>
          </a:xfrm>
        </p:spPr>
        <p:txBody>
          <a:bodyPr tIns="7199"/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 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31" y="520703"/>
            <a:ext cx="3696743" cy="5357283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 smtClean="0"/>
              <a:t>Pictu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22555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7919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43956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29787071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38395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08876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957390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15809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63263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62844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3717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413837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03471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715776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8389118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404168" y="296561"/>
            <a:ext cx="9093960" cy="334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accent6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pt-PT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403869" y="655869"/>
            <a:ext cx="9094259" cy="371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PT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6983113"/>
            <a:ext cx="3028950" cy="512762"/>
            <a:chOff x="-17122" y="6915827"/>
            <a:chExt cx="3502889" cy="448798"/>
          </a:xfrm>
        </p:grpSpPr>
        <p:sp>
          <p:nvSpPr>
            <p:cNvPr id="14" name="Rectangle 13"/>
            <p:cNvSpPr/>
            <p:nvPr/>
          </p:nvSpPr>
          <p:spPr>
            <a:xfrm>
              <a:off x="-17122" y="6915827"/>
              <a:ext cx="617624" cy="448798"/>
            </a:xfrm>
            <a:prstGeom prst="rect">
              <a:avLst/>
            </a:prstGeom>
            <a:solidFill>
              <a:srgbClr val="0099AB"/>
            </a:solidFill>
            <a:ln>
              <a:solidFill>
                <a:srgbClr val="0099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153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171</a:t>
              </a:r>
              <a:endParaRPr lang="pt-PT" sz="100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4194" y="6915827"/>
              <a:ext cx="617624" cy="448798"/>
            </a:xfrm>
            <a:prstGeom prst="rect">
              <a:avLst/>
            </a:prstGeom>
            <a:solidFill>
              <a:srgbClr val="3BC2D7"/>
            </a:solidFill>
            <a:ln>
              <a:solidFill>
                <a:srgbClr val="3BC2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59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194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215</a:t>
              </a:r>
              <a:endParaRPr lang="pt-PT" sz="100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425510" y="6915827"/>
              <a:ext cx="617624" cy="448798"/>
            </a:xfrm>
            <a:prstGeom prst="rect">
              <a:avLst/>
            </a:prstGeom>
            <a:solidFill>
              <a:srgbClr val="005884"/>
            </a:solidFill>
            <a:ln>
              <a:solidFill>
                <a:srgbClr val="0058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88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132</a:t>
              </a:r>
              <a:endParaRPr lang="pt-PT" sz="100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146826" y="6915827"/>
              <a:ext cx="617624" cy="448798"/>
            </a:xfrm>
            <a:prstGeom prst="rect">
              <a:avLst/>
            </a:prstGeom>
            <a:solidFill>
              <a:srgbClr val="002E48"/>
            </a:solidFill>
            <a:ln>
              <a:solidFill>
                <a:srgbClr val="002E4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46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72</a:t>
              </a:r>
              <a:endParaRPr lang="pt-PT" sz="100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68143" y="6915827"/>
              <a:ext cx="617624" cy="448798"/>
            </a:xfrm>
            <a:prstGeom prst="rect">
              <a:avLst/>
            </a:prstGeom>
            <a:solidFill>
              <a:srgbClr val="4C4C4E"/>
            </a:solidFill>
            <a:ln>
              <a:solidFill>
                <a:srgbClr val="4C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76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76</a:t>
              </a:r>
            </a:p>
            <a:p>
              <a:r>
                <a:rPr lang="pt-PT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 78</a:t>
              </a:r>
              <a:endParaRPr lang="pt-PT" sz="100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23949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3958944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64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6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843C60-23BE-4880-ACAC-0BF3CCF76A50}" type="datetimeFigureOut">
              <a:rPr lang="pt-PT" smtClean="0"/>
              <a:pPr/>
              <a:t>04/03/2020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F794DCE-AFB5-49E4-B59C-3D2EE94DD5E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4447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of the slide on one </a:t>
            </a:r>
            <a:br>
              <a:rPr lang="en-US" noProof="0"/>
            </a:br>
            <a:r>
              <a:rPr lang="en-US" noProof="0"/>
              <a:t>or two line(s) – Arial bold 20 p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263090" y="6362136"/>
            <a:ext cx="10681449" cy="912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4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733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Font typeface="+mj-lt"/>
        <a:buAutoNum type="arabicPeriod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269243" y="6357325"/>
            <a:ext cx="11137900" cy="912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3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616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2"/>
        </a:buClr>
        <a:buFont typeface="+mj-lt"/>
        <a:buAutoNum type="arabicPeriod" startAt="2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58161" y="6357325"/>
            <a:ext cx="11137900" cy="91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3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2957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3"/>
        </a:buClr>
        <a:buFont typeface="+mj-lt"/>
        <a:buAutoNum type="arabicPeriod" startAt="3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of the slide on one </a:t>
            </a:r>
            <a:br>
              <a:rPr lang="en-US" noProof="0"/>
            </a:br>
            <a:r>
              <a:rPr lang="en-US" noProof="0"/>
              <a:t>or two line(s) – Arial bold 20 p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3/4/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4" name="Group 10"/>
          <p:cNvGrpSpPr/>
          <p:nvPr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4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Rectangle 27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28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Font typeface="+mj-lt"/>
        <a:buAutoNum type="arabicPeriod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211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5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27052" y="452974"/>
            <a:ext cx="576395" cy="863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00.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27075" y="1653120"/>
            <a:ext cx="11137900" cy="38883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smtClean="0"/>
              <a:t>Text level 1</a:t>
            </a:r>
          </a:p>
          <a:p>
            <a:pPr lvl="1"/>
            <a:r>
              <a:rPr lang="en-US" noProof="0" smtClean="0"/>
              <a:t>Text level 2 </a:t>
            </a:r>
          </a:p>
          <a:p>
            <a:pPr lvl="2"/>
            <a:r>
              <a:rPr lang="en-US" noProof="0" smtClean="0"/>
              <a:t>Text level 3</a:t>
            </a:r>
          </a:p>
          <a:p>
            <a:pPr lvl="3"/>
            <a:r>
              <a:rPr lang="en-US" noProof="0" smtClean="0"/>
              <a:t>Text level 4</a:t>
            </a:r>
          </a:p>
          <a:p>
            <a:pPr lvl="4"/>
            <a:r>
              <a:rPr lang="en-US" noProof="0" smtClean="0"/>
              <a:t>Text level 5</a:t>
            </a:r>
            <a:endParaRPr lang="en-US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27052" y="6307223"/>
            <a:ext cx="575734" cy="336550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020" b="1">
                <a:solidFill>
                  <a:schemeClr val="tx1"/>
                </a:solidFill>
              </a:defRPr>
            </a:lvl1pPr>
          </a:lstStyle>
          <a:p>
            <a:pPr defTabSz="932540"/>
            <a:fld id="{733122C9-A0B9-462F-8757-0847AD287B63}" type="slidenum">
              <a:rPr lang="en-US" smtClean="0">
                <a:solidFill>
                  <a:prstClr val="black"/>
                </a:solidFill>
              </a:rPr>
              <a:pPr defTabSz="93254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706" y="6026616"/>
            <a:ext cx="595200" cy="657239"/>
          </a:xfrm>
          <a:prstGeom prst="rect">
            <a:avLst/>
          </a:prstGeom>
        </p:spPr>
      </p:pic>
      <p:sp>
        <p:nvSpPr>
          <p:cNvPr id="11" name="Espace réservé du pied de page 12"/>
          <p:cNvSpPr>
            <a:spLocks noGrp="1"/>
          </p:cNvSpPr>
          <p:nvPr>
            <p:ph type="ftr" sz="quarter" idx="3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lIns="91398" tIns="45699" rIns="91398" bIns="45699"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</p:spTree>
    <p:extLst>
      <p:ext uri="{BB962C8B-B14F-4D97-AF65-F5344CB8AC3E}">
        <p14:creationId xmlns:p14="http://schemas.microsoft.com/office/powerpoint/2010/main" val="2729473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932540" rtl="0" eaLnBrk="1" latinLnBrk="0" hangingPunct="1">
        <a:lnSpc>
          <a:spcPct val="95000"/>
        </a:lnSpc>
        <a:spcBef>
          <a:spcPct val="0"/>
        </a:spcBef>
        <a:buNone/>
        <a:defRPr sz="2143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32540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itchFamily="34" charset="0"/>
        <a:buNone/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6856" algn="l" defTabSz="93254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422212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422212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2564485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6pPr>
      <a:lvl7pPr marL="3030754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7pPr>
      <a:lvl8pPr marL="3497025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8pPr>
      <a:lvl9pPr marL="3963297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272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54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809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081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135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619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3891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0163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04/03/2020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974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00" y="1536700"/>
            <a:ext cx="10693400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8910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 Reasons to apply to the awar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Highlight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at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ype of synergies are you expecting to build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r do you foresee with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tice)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Other </a:t>
            </a:r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levant information</a:t>
            </a:r>
            <a:endParaRPr lang="en-US" sz="40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Insert other relevant information that you would like us to consider, as well as relevant links. Examples: </a:t>
            </a:r>
            <a:r>
              <a:rPr lang="en-US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tube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links, links to news directly related with your project, download link to mobile app)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2889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sted-image.pdf" descr="pasted-image.pdf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-2106152" y="-2302934"/>
            <a:ext cx="6836970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extBox 5"/>
          <p:cNvSpPr txBox="1"/>
          <p:nvPr/>
        </p:nvSpPr>
        <p:spPr>
          <a:xfrm>
            <a:off x="460646" y="5305460"/>
            <a:ext cx="8653010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en-US" sz="3000" b="1" dirty="0" smtClean="0">
                <a:solidFill>
                  <a:srgbClr val="FFFFFF"/>
                </a:solidFill>
                <a:latin typeface="Arial" pitchFamily="34" charset="0"/>
                <a:ea typeface="Helvetica Neue"/>
                <a:cs typeface="Arial" pitchFamily="34" charset="0"/>
                <a:sym typeface="Helvetica Neue"/>
              </a:rPr>
              <a:t>ALTICE INTERNATIONAL INNOVATION AWARD</a:t>
            </a:r>
            <a:endParaRPr lang="en-US" sz="3000" b="1" dirty="0">
              <a:solidFill>
                <a:srgbClr val="FFFFFF"/>
              </a:solidFill>
              <a:latin typeface="Arial" pitchFamily="34" charset="0"/>
              <a:ea typeface="Helvetica Neue"/>
              <a:cs typeface="Arial" pitchFamily="34" charset="0"/>
              <a:sym typeface="Helvetica Neue"/>
            </a:endParaRPr>
          </a:p>
          <a:p>
            <a:pPr defTabSz="825500" hangingPunct="0"/>
            <a:r>
              <a:rPr lang="en-US" sz="3000" dirty="0" smtClean="0">
                <a:solidFill>
                  <a:srgbClr val="FFFFFF"/>
                </a:solidFill>
                <a:latin typeface="Arial" pitchFamily="34" charset="0"/>
                <a:ea typeface="Helvetica Neue"/>
                <a:cs typeface="Arial" pitchFamily="34" charset="0"/>
                <a:sym typeface="Helvetica Neue"/>
              </a:rPr>
              <a:t>2020</a:t>
            </a:r>
            <a:endParaRPr lang="en-US" sz="3000" dirty="0">
              <a:solidFill>
                <a:srgbClr val="FFFFFF"/>
              </a:solidFill>
              <a:latin typeface="Arial" pitchFamily="34" charset="0"/>
              <a:ea typeface="Helvetica Neue"/>
              <a:cs typeface="Arial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4092169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1400" y="2767281"/>
            <a:ext cx="11649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ert the title of your project</a:t>
            </a:r>
          </a:p>
          <a:p>
            <a:pPr algn="ctr"/>
            <a:r>
              <a:rPr lang="en-US" sz="20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the same inserted in the </a:t>
            </a:r>
            <a:r>
              <a:rPr lang="en-US" sz="2000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ebform</a:t>
            </a:r>
            <a:r>
              <a:rPr lang="en-US" sz="20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. Executive summar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Summarize the project/product/service main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eatures and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novative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pects) 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. Project description and goal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Describe the project/product/service you are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ubmitting, as well as its main goals) 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. Project use cases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Identify the main use cases of the project/product/service you are submitting)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 Competitors identification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Identify who are the main competitors of the project/product/service you are submitting, as well as the main differences between your project/product/service and theirs by highlighting your competitive advantages)</a:t>
            </a:r>
            <a:endParaRPr lang="en-US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. Value proposi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Identify the most important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eatures</a:t>
            </a:r>
            <a:r>
              <a:rPr lang="en-US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haracteristics of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project/product/service you are submitting in order to make it special, unique and be the one chosen by the market)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. Business mod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Explain the business model of the project/product/service you are submitting)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. Growth potential and future perspectives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Describe the growth potential of the project/product/service you are submitting. Also highlight the main future perspectives you have for it)</a:t>
            </a:r>
            <a:endParaRPr lang="pt-PT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4472C4"/>
      </a:hlink>
      <a:folHlink>
        <a:srgbClr val="7F7F7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tice_16-9_us_june_17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DB94B646-FC2E-4153-9C40-B1E8A17C6503}"/>
    </a:ext>
  </a:extLst>
</a:theme>
</file>

<file path=ppt/theme/theme3.xml><?xml version="1.0" encoding="utf-8"?>
<a:theme xmlns:a="http://schemas.openxmlformats.org/drawingml/2006/main" name="altice_16-9_green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BFBDC602-42D1-483E-BB02-45D1E3DDCD08}"/>
    </a:ext>
  </a:extLst>
</a:theme>
</file>

<file path=ppt/theme/theme4.xml><?xml version="1.0" encoding="utf-8"?>
<a:theme xmlns:a="http://schemas.openxmlformats.org/drawingml/2006/main" name="1_altice_16-9_blue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5011EB0E-BD36-49B5-94D9-7B41E686316E}"/>
    </a:ext>
  </a:extLst>
</a:theme>
</file>

<file path=ppt/theme/theme5.xml><?xml version="1.0" encoding="utf-8"?>
<a:theme xmlns:a="http://schemas.openxmlformats.org/drawingml/2006/main" name="PPT_Altice_16x9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DB94B646-FC2E-4153-9C40-B1E8A17C6503}"/>
    </a:ext>
  </a:extLst>
</a:theme>
</file>

<file path=ppt/theme/theme6.xml><?xml version="1.0" encoding="utf-8"?>
<a:theme xmlns:a="http://schemas.openxmlformats.org/drawingml/2006/main" name="altice_blue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2_Office Theme">
  <a:themeElements>
    <a:clrScheme name="Custom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9</TotalTime>
  <Words>270</Words>
  <Application>Microsoft Office PowerPoint</Application>
  <PresentationFormat>Widescreen</PresentationFormat>
  <Paragraphs>34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Calibri</vt:lpstr>
      <vt:lpstr>Calibri Light</vt:lpstr>
      <vt:lpstr>Helvetica Neue</vt:lpstr>
      <vt:lpstr>Wingdings 2</vt:lpstr>
      <vt:lpstr>Office Theme</vt:lpstr>
      <vt:lpstr>altice_16-9_us_june_17</vt:lpstr>
      <vt:lpstr>altice_16-9_green</vt:lpstr>
      <vt:lpstr>1_altice_16-9_blue</vt:lpstr>
      <vt:lpstr>PPT_Altice_16x9</vt:lpstr>
      <vt:lpstr>altice_blu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Patrícia Monteiro</dc:creator>
  <cp:lastModifiedBy>Ana Patricia Monteiro</cp:lastModifiedBy>
  <cp:revision>205</cp:revision>
  <dcterms:created xsi:type="dcterms:W3CDTF">2018-01-25T09:18:56Z</dcterms:created>
  <dcterms:modified xsi:type="dcterms:W3CDTF">2020-03-04T17:36:56Z</dcterms:modified>
</cp:coreProperties>
</file>